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588" autoAdjust="0"/>
    <p:restoredTop sz="94671" autoAdjust="0"/>
  </p:normalViewPr>
  <p:slideViewPr>
    <p:cSldViewPr>
      <p:cViewPr>
        <p:scale>
          <a:sx n="100" d="100"/>
          <a:sy n="100" d="100"/>
        </p:scale>
        <p:origin x="-1716" y="21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C693-AEFC-41FD-BDD4-913BAB0DDC21}" type="datetimeFigureOut">
              <a:rPr lang="en-AU" smtClean="0"/>
              <a:t>19/06/2019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689D0-C062-4C02-BF43-EF47B8FCCFE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304664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C693-AEFC-41FD-BDD4-913BAB0DDC21}" type="datetimeFigureOut">
              <a:rPr lang="en-AU" smtClean="0"/>
              <a:t>19/06/2019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689D0-C062-4C02-BF43-EF47B8FCCFE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891179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C693-AEFC-41FD-BDD4-913BAB0DDC21}" type="datetimeFigureOut">
              <a:rPr lang="en-AU" smtClean="0"/>
              <a:t>19/06/2019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689D0-C062-4C02-BF43-EF47B8FCCFE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710722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C693-AEFC-41FD-BDD4-913BAB0DDC21}" type="datetimeFigureOut">
              <a:rPr lang="en-AU" smtClean="0"/>
              <a:t>19/06/2019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689D0-C062-4C02-BF43-EF47B8FCCFE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784058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C693-AEFC-41FD-BDD4-913BAB0DDC21}" type="datetimeFigureOut">
              <a:rPr lang="en-AU" smtClean="0"/>
              <a:t>19/06/2019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689D0-C062-4C02-BF43-EF47B8FCCFE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033754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C693-AEFC-41FD-BDD4-913BAB0DDC21}" type="datetimeFigureOut">
              <a:rPr lang="en-AU" smtClean="0"/>
              <a:t>19/06/2019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689D0-C062-4C02-BF43-EF47B8FCCFE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197374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C693-AEFC-41FD-BDD4-913BAB0DDC21}" type="datetimeFigureOut">
              <a:rPr lang="en-AU" smtClean="0"/>
              <a:t>19/06/2019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689D0-C062-4C02-BF43-EF47B8FCCFE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830042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C693-AEFC-41FD-BDD4-913BAB0DDC21}" type="datetimeFigureOut">
              <a:rPr lang="en-AU" smtClean="0"/>
              <a:t>19/06/2019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689D0-C062-4C02-BF43-EF47B8FCCFE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7831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C693-AEFC-41FD-BDD4-913BAB0DDC21}" type="datetimeFigureOut">
              <a:rPr lang="en-AU" smtClean="0"/>
              <a:t>19/06/2019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689D0-C062-4C02-BF43-EF47B8FCCFE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994347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C693-AEFC-41FD-BDD4-913BAB0DDC21}" type="datetimeFigureOut">
              <a:rPr lang="en-AU" smtClean="0"/>
              <a:t>19/06/2019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689D0-C062-4C02-BF43-EF47B8FCCFE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67816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0C693-AEFC-41FD-BDD4-913BAB0DDC21}" type="datetimeFigureOut">
              <a:rPr lang="en-AU" smtClean="0"/>
              <a:t>19/06/2019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C689D0-C062-4C02-BF43-EF47B8FCCFE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390932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80C693-AEFC-41FD-BDD4-913BAB0DDC21}" type="datetimeFigureOut">
              <a:rPr lang="en-AU" smtClean="0"/>
              <a:t>19/06/2019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C689D0-C062-4C02-BF43-EF47B8FCCFE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15212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hyperlink" Target="mailto:mahesh.cas@gmail.com" TargetMode="Externa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>
            <p:custDataLst>
              <p:tags r:id="rId1"/>
            </p:custDataLst>
          </p:nvPr>
        </p:nvSpPr>
        <p:spPr>
          <a:xfrm>
            <a:off x="367854" y="146391"/>
            <a:ext cx="6472398" cy="288606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/>
          <a:lstStyle/>
          <a:p>
            <a:pPr eaLnBrk="0" fontAlgn="auto" hangingPunct="0">
              <a:lnSpc>
                <a:spcPct val="90000"/>
              </a:lnSpc>
              <a:spcBef>
                <a:spcPct val="40000"/>
              </a:spcBef>
              <a:spcAft>
                <a:spcPts val="0"/>
              </a:spcAft>
              <a:tabLst>
                <a:tab pos="6464300" algn="r"/>
              </a:tabLst>
              <a:defRPr/>
            </a:pPr>
            <a:r>
              <a:rPr lang="en-GB" sz="1600" b="1" kern="0" dirty="0" smtClean="0">
                <a:latin typeface="Arial"/>
                <a:cs typeface="Arial" pitchFamily="34" charset="0"/>
              </a:rPr>
              <a:t>Maheswar Mallikarjunan|| </a:t>
            </a:r>
            <a:r>
              <a:rPr lang="en-AU" sz="1600" b="1" kern="0" dirty="0" smtClean="0">
                <a:latin typeface="Arial"/>
              </a:rPr>
              <a:t>Senior </a:t>
            </a:r>
            <a:r>
              <a:rPr lang="en-AU" sz="1600" b="1" kern="0" dirty="0">
                <a:latin typeface="Arial"/>
              </a:rPr>
              <a:t>Consultant </a:t>
            </a:r>
            <a:r>
              <a:rPr lang="en-AU" sz="1600" b="1" kern="0" dirty="0" smtClean="0">
                <a:latin typeface="Arial"/>
              </a:rPr>
              <a:t> </a:t>
            </a:r>
            <a:endParaRPr lang="en-GB" sz="1600" b="1" kern="0" dirty="0">
              <a:latin typeface="Arial"/>
            </a:endParaRPr>
          </a:p>
          <a:p>
            <a:pPr eaLnBrk="0" fontAlgn="auto" hangingPunct="0">
              <a:lnSpc>
                <a:spcPct val="90000"/>
              </a:lnSpc>
              <a:spcBef>
                <a:spcPct val="40000"/>
              </a:spcBef>
              <a:spcAft>
                <a:spcPts val="0"/>
              </a:spcAft>
              <a:tabLst>
                <a:tab pos="6464300" algn="r"/>
              </a:tabLst>
              <a:defRPr/>
            </a:pPr>
            <a:endParaRPr lang="en-GB" sz="1050" kern="0" dirty="0">
              <a:latin typeface="Arial"/>
              <a:cs typeface="+mn-cs"/>
            </a:endParaRPr>
          </a:p>
        </p:txBody>
      </p:sp>
      <p:sp>
        <p:nvSpPr>
          <p:cNvPr id="3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37943" y="476672"/>
            <a:ext cx="4392488" cy="6264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just">
              <a:spcBef>
                <a:spcPts val="500"/>
              </a:spcBef>
              <a:defRPr/>
            </a:pPr>
            <a:r>
              <a:rPr lang="en-AU" sz="1000" b="1" u="sng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fessional </a:t>
            </a:r>
            <a:r>
              <a:rPr lang="en-AU" sz="1000" b="1" u="sng" kern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xperience</a:t>
            </a:r>
          </a:p>
          <a:p>
            <a:pPr algn="just">
              <a:spcBef>
                <a:spcPts val="500"/>
              </a:spcBef>
              <a:defRPr/>
            </a:pPr>
            <a:r>
              <a:rPr lang="en-GB" altLang="en-US" sz="1000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Company : </a:t>
            </a:r>
            <a:r>
              <a:rPr lang="en-GB" altLang="en-US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Capgemini India Pvt Ltd </a:t>
            </a:r>
            <a:r>
              <a:rPr lang="en-GB" altLang="en-US" sz="1000" b="1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,Client</a:t>
            </a:r>
            <a:r>
              <a:rPr lang="en-US" altLang="en-US" sz="1000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</a:t>
            </a:r>
            <a:r>
              <a:rPr lang="en-GB" altLang="en-US" sz="1000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GB" altLang="en-US" sz="10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ANZ </a:t>
            </a:r>
            <a:r>
              <a:rPr lang="en-GB" altLang="en-US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Bank</a:t>
            </a:r>
            <a:r>
              <a:rPr lang="en-GB" altLang="en-US" sz="1000" b="1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, Location : </a:t>
            </a:r>
            <a:r>
              <a:rPr lang="en-GB" altLang="en-US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Bangalore</a:t>
            </a:r>
          </a:p>
          <a:p>
            <a:pPr algn="just">
              <a:spcBef>
                <a:spcPts val="500"/>
              </a:spcBef>
              <a:defRPr/>
            </a:pPr>
            <a:r>
              <a:rPr lang="en-GB" altLang="en-US" sz="1000" b="1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Projects : </a:t>
            </a:r>
            <a:r>
              <a:rPr lang="en-GB" altLang="en-US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New Payment Platform , Open Banking</a:t>
            </a:r>
            <a:endParaRPr lang="en-GB" altLang="en-US" sz="1000" dirty="0" smtClean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algn="just">
              <a:spcBef>
                <a:spcPts val="500"/>
              </a:spcBef>
              <a:defRPr/>
            </a:pPr>
            <a:r>
              <a:rPr lang="en-GB" altLang="en-US" sz="1000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Role</a:t>
            </a:r>
            <a:r>
              <a:rPr lang="en-US" altLang="en-US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Senior consultant</a:t>
            </a:r>
          </a:p>
          <a:p>
            <a:pPr algn="just">
              <a:spcBef>
                <a:spcPts val="500"/>
              </a:spcBef>
              <a:defRPr/>
            </a:pPr>
            <a:r>
              <a:rPr lang="en-US" altLang="en-US" sz="1000" b="1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Responsibilities</a:t>
            </a:r>
            <a:r>
              <a:rPr lang="en-US" altLang="en-US" sz="10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</a:t>
            </a:r>
            <a:endParaRPr lang="en-US" altLang="en-US" sz="1000" dirty="0" smtClean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Developed service virtualization </a:t>
            </a:r>
            <a:r>
              <a:rPr lang="en-US" sz="1000" dirty="0" smtClean="0">
                <a:solidFill>
                  <a:schemeClr val="tx1"/>
                </a:solidFill>
              </a:rPr>
              <a:t> an d API Automation script’s in </a:t>
            </a:r>
            <a:r>
              <a:rPr lang="en-US" sz="1000" dirty="0">
                <a:solidFill>
                  <a:schemeClr val="tx1"/>
                </a:solidFill>
              </a:rPr>
              <a:t>CA LISA</a:t>
            </a:r>
            <a:endParaRPr lang="en-AU" sz="1000" dirty="0">
              <a:solidFill>
                <a:schemeClr val="tx1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Preparing Test Estimation of SOA Testing Activities for the Web services</a:t>
            </a:r>
            <a:endParaRPr lang="en-AU" sz="1000" dirty="0">
              <a:solidFill>
                <a:schemeClr val="tx1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Performed System testing (ST) and System integrating testing (SIT)</a:t>
            </a:r>
            <a:endParaRPr lang="en-AU" sz="1000" dirty="0">
              <a:solidFill>
                <a:schemeClr val="tx1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Preparing Test Cases for the web services functional testing</a:t>
            </a:r>
            <a:endParaRPr lang="en-AU" sz="1000" dirty="0">
              <a:solidFill>
                <a:schemeClr val="tx1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Creating test scripts using CA LISA 9.5 and automating them as a regression suite</a:t>
            </a:r>
            <a:endParaRPr lang="en-AU" sz="1000" dirty="0">
              <a:solidFill>
                <a:schemeClr val="tx1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1"/>
                </a:solidFill>
              </a:rPr>
              <a:t>Interact </a:t>
            </a:r>
            <a:r>
              <a:rPr lang="en-US" sz="1000" dirty="0">
                <a:solidFill>
                  <a:schemeClr val="tx1"/>
                </a:solidFill>
              </a:rPr>
              <a:t>with different teams such as development teams and other QA teams (onsite/offshore)</a:t>
            </a:r>
            <a:endParaRPr lang="en-AU" sz="1000" dirty="0">
              <a:solidFill>
                <a:schemeClr val="tx1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Prepare Sign-offs and test reports for each release and share the same with Customers</a:t>
            </a:r>
            <a:endParaRPr lang="en-AU" sz="1000" dirty="0">
              <a:solidFill>
                <a:schemeClr val="tx1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Manage and coordinate all aspects of Incident resolution, root cause analysis and trend analysis</a:t>
            </a:r>
            <a:endParaRPr lang="en-AU" sz="1000" dirty="0">
              <a:solidFill>
                <a:schemeClr val="tx1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nalyze, prioritize, classify, and schedule the Requests for Change (RFCs), Assign teams to conduct the RFC impact analyses and risk assessments</a:t>
            </a:r>
            <a:endParaRPr lang="en-AU" sz="1000" dirty="0">
              <a:solidFill>
                <a:schemeClr val="tx1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Provide management reporting, SLA management and monitoring for key Service Levels</a:t>
            </a:r>
            <a:endParaRPr lang="en-AU" sz="10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Direct and manage the overall end to end delivery and day-to-day business execution of work products, solutions and deliverable's</a:t>
            </a:r>
            <a:r>
              <a:rPr lang="en-US" sz="1000" dirty="0" smtClean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.</a:t>
            </a:r>
            <a:endParaRPr lang="en-AU" sz="1000" dirty="0" smtClean="0">
              <a:solidFill>
                <a:schemeClr val="tx1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0" lvl="1" algn="just">
              <a:spcBef>
                <a:spcPts val="500"/>
              </a:spcBef>
              <a:defRPr/>
            </a:pPr>
            <a:r>
              <a:rPr lang="en-GB" altLang="en-US" sz="1000" b="1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Company</a:t>
            </a:r>
            <a:r>
              <a:rPr lang="en-GB" altLang="en-US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: Cognizant Technology solutions </a:t>
            </a:r>
            <a:r>
              <a:rPr lang="en-GB" altLang="en-US" sz="1000" b="1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Client</a:t>
            </a:r>
            <a:r>
              <a:rPr lang="en-US" altLang="en-US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Intuit</a:t>
            </a:r>
            <a:r>
              <a:rPr lang="en-US" altLang="en-US" sz="10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,</a:t>
            </a:r>
            <a:r>
              <a:rPr lang="en-US" altLang="en-US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TiVo, COX communication, Liberty Mutual(US)</a:t>
            </a:r>
            <a:r>
              <a:rPr lang="en-GB" altLang="en-US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, </a:t>
            </a:r>
            <a:r>
              <a:rPr lang="en-GB" altLang="en-US" sz="1000" b="1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Location</a:t>
            </a:r>
            <a:r>
              <a:rPr lang="en-GB" altLang="en-US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: Bangalore</a:t>
            </a:r>
          </a:p>
          <a:p>
            <a:pPr marL="0" lvl="1" algn="just">
              <a:spcBef>
                <a:spcPts val="500"/>
              </a:spcBef>
              <a:defRPr/>
            </a:pPr>
            <a:r>
              <a:rPr lang="en-GB" altLang="en-US" sz="1000" b="1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Role</a:t>
            </a:r>
            <a:r>
              <a:rPr lang="en-US" altLang="en-US" sz="10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</a:t>
            </a:r>
            <a:r>
              <a:rPr lang="en-AU" sz="1000" dirty="0">
                <a:solidFill>
                  <a:schemeClr val="tx1"/>
                </a:solidFill>
              </a:rPr>
              <a:t>Automation Test Engineer </a:t>
            </a:r>
            <a:endParaRPr lang="en-AU" sz="1000" dirty="0" smtClean="0">
              <a:solidFill>
                <a:schemeClr val="tx1"/>
              </a:solidFill>
            </a:endParaRPr>
          </a:p>
          <a:p>
            <a:pPr marL="0" lvl="1" algn="just">
              <a:spcBef>
                <a:spcPts val="500"/>
              </a:spcBef>
              <a:defRPr/>
            </a:pPr>
            <a:r>
              <a:rPr lang="en-US" altLang="en-US" sz="1000" b="1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Responsibilities</a:t>
            </a:r>
            <a:r>
              <a:rPr lang="en-US" altLang="en-US" sz="10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</a:t>
            </a:r>
          </a:p>
          <a:p>
            <a:pPr marL="171450" lvl="0" indent="-1714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s a senior QA analyst this position allowed me to work on multiple projects which gave more insight in the leading the team and prioritizing the projects’ time lines</a:t>
            </a:r>
            <a:endParaRPr lang="en-AU" sz="1000" dirty="0">
              <a:solidFill>
                <a:schemeClr val="tx1"/>
              </a:solidFill>
            </a:endParaRPr>
          </a:p>
          <a:p>
            <a:pPr marL="171450" indent="-1714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AU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Worked </a:t>
            </a:r>
            <a:r>
              <a:rPr lang="en-AU" sz="10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closely with Business on analysis of business requirements and Creation of the automated Test cases as per the changes in the functional code and implementation of those changed in </a:t>
            </a:r>
            <a:r>
              <a:rPr lang="en-AU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Automation scrip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Participated in entire testing lifecycle, including test planning, test preparation</a:t>
            </a:r>
            <a:endParaRPr lang="en-AU" sz="1000" dirty="0">
              <a:solidFill>
                <a:schemeClr val="tx1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Performed Functional and Web Services testing </a:t>
            </a:r>
            <a:r>
              <a:rPr lang="en-US" sz="1000" dirty="0" smtClean="0">
                <a:solidFill>
                  <a:schemeClr val="tx1"/>
                </a:solidFill>
              </a:rPr>
              <a:t>using LISA, UFT, </a:t>
            </a:r>
            <a:r>
              <a:rPr lang="en-US" sz="1000" dirty="0" err="1" smtClean="0">
                <a:solidFill>
                  <a:schemeClr val="tx1"/>
                </a:solidFill>
              </a:rPr>
              <a:t>SoapUI</a:t>
            </a:r>
            <a:r>
              <a:rPr lang="en-US" sz="1000" dirty="0" smtClean="0">
                <a:solidFill>
                  <a:schemeClr val="tx1"/>
                </a:solidFill>
              </a:rPr>
              <a:t>, JAVA</a:t>
            </a:r>
            <a:endParaRPr lang="en-AU" sz="1000" dirty="0">
              <a:solidFill>
                <a:schemeClr val="tx1"/>
              </a:solidFill>
            </a:endParaRPr>
          </a:p>
          <a:p>
            <a:pPr marL="171450" indent="-1714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GB" sz="10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8108" y="476672"/>
            <a:ext cx="4714876" cy="626469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/>
          <a:lstStyle/>
          <a:p>
            <a:pPr marL="95250">
              <a:spcBef>
                <a:spcPts val="500"/>
              </a:spcBef>
              <a:defRPr/>
            </a:pPr>
            <a:r>
              <a:rPr lang="en-AU" sz="1000" b="1" u="sng" kern="0" dirty="0">
                <a:latin typeface="Arial" pitchFamily="34" charset="0"/>
                <a:cs typeface="Arial" pitchFamily="34" charset="0"/>
              </a:rPr>
              <a:t>Profile</a:t>
            </a:r>
          </a:p>
          <a:p>
            <a:pPr marL="266700" lvl="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US" sz="1000" dirty="0" smtClean="0"/>
              <a:t>An </a:t>
            </a:r>
            <a:r>
              <a:rPr lang="en-US" sz="1000" dirty="0"/>
              <a:t>experienced  IT professional tester  with both </a:t>
            </a:r>
            <a:r>
              <a:rPr lang="en-US" sz="1000" b="1" dirty="0"/>
              <a:t>Test Automation and Manual  experience </a:t>
            </a:r>
            <a:r>
              <a:rPr lang="en-US" sz="1000" dirty="0"/>
              <a:t>working  both client side and offshore </a:t>
            </a:r>
            <a:r>
              <a:rPr lang="en-US" sz="1000" dirty="0" smtClean="0"/>
              <a:t>experience</a:t>
            </a:r>
          </a:p>
          <a:p>
            <a:pPr marL="26670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US" sz="1000" dirty="0"/>
              <a:t>9</a:t>
            </a:r>
            <a:r>
              <a:rPr lang="en-US" sz="1000" dirty="0" smtClean="0"/>
              <a:t>+ </a:t>
            </a:r>
            <a:r>
              <a:rPr lang="en-US" sz="1000" dirty="0"/>
              <a:t>Years of experience in Software Testing, SOA Testing and web service virtualization</a:t>
            </a:r>
            <a:endParaRPr lang="en-AU" sz="1000" dirty="0"/>
          </a:p>
          <a:p>
            <a:pPr marL="266700" lvl="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AU" sz="1000" dirty="0" smtClean="0"/>
              <a:t>5+ </a:t>
            </a:r>
            <a:r>
              <a:rPr lang="en-AU" sz="1000" dirty="0"/>
              <a:t>Years  of  Automation experience in  </a:t>
            </a:r>
            <a:r>
              <a:rPr lang="en-AU" sz="1000" dirty="0" smtClean="0"/>
              <a:t>CA LISA,HP UFT(ST),</a:t>
            </a:r>
            <a:r>
              <a:rPr lang="en-AU" sz="1000" dirty="0" smtClean="0"/>
              <a:t>Java script</a:t>
            </a:r>
            <a:endParaRPr lang="en-AU" sz="1000" dirty="0" smtClean="0"/>
          </a:p>
          <a:p>
            <a:pPr marL="266700" lvl="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US" sz="1000" dirty="0" smtClean="0"/>
              <a:t>Experience </a:t>
            </a:r>
            <a:r>
              <a:rPr lang="en-US" sz="1000" dirty="0"/>
              <a:t>in testing multi-tier applications utilizing web service calls</a:t>
            </a:r>
            <a:endParaRPr lang="en-AU" sz="1000" dirty="0"/>
          </a:p>
          <a:p>
            <a:pPr marL="266700" lvl="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AU" sz="1000" dirty="0" smtClean="0"/>
              <a:t>Strong </a:t>
            </a:r>
            <a:r>
              <a:rPr lang="en-AU" sz="1000" dirty="0"/>
              <a:t>knowledge on  Banking &amp; Telecom domains</a:t>
            </a:r>
          </a:p>
          <a:p>
            <a:pPr marL="266700" lvl="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AU" sz="1000" dirty="0"/>
              <a:t>Experience in both </a:t>
            </a:r>
            <a:r>
              <a:rPr lang="en-AU" sz="1000" b="1" dirty="0"/>
              <a:t>UI &amp; API Automation </a:t>
            </a:r>
            <a:r>
              <a:rPr lang="en-AU" sz="1000" dirty="0"/>
              <a:t>experience</a:t>
            </a:r>
          </a:p>
          <a:p>
            <a:pPr marL="266700" lvl="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AU" sz="1000" dirty="0"/>
              <a:t>Good Experience in</a:t>
            </a:r>
            <a:r>
              <a:rPr lang="en-AU" sz="1000" b="1" dirty="0"/>
              <a:t> E2E test automation </a:t>
            </a:r>
            <a:r>
              <a:rPr lang="en-AU" sz="1000" dirty="0"/>
              <a:t>involving multiple applications &amp; </a:t>
            </a:r>
            <a:r>
              <a:rPr lang="en-AU" sz="1000" dirty="0" smtClean="0"/>
              <a:t>platforms</a:t>
            </a:r>
          </a:p>
          <a:p>
            <a:pPr marL="266700" lvl="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US" sz="1000" dirty="0" smtClean="0"/>
              <a:t>Excellent </a:t>
            </a:r>
            <a:r>
              <a:rPr lang="en-US" sz="1000" b="1" dirty="0"/>
              <a:t>Stakeholder Management</a:t>
            </a:r>
            <a:r>
              <a:rPr lang="en-US" sz="1000" dirty="0"/>
              <a:t> skills   with business and clients  in implementation of Automation across all  environments with multiple teams</a:t>
            </a:r>
          </a:p>
          <a:p>
            <a:pPr marL="266700" lvl="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AU" sz="1000" dirty="0" smtClean="0"/>
              <a:t>Good knowledge in documenting  the project artifacts</a:t>
            </a:r>
          </a:p>
          <a:p>
            <a:pPr marL="26670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AU" sz="1000" dirty="0"/>
              <a:t>Expertise in Test management tools like JIRA, ALM.</a:t>
            </a:r>
          </a:p>
          <a:p>
            <a:pPr marL="26670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AU" sz="1000" dirty="0"/>
              <a:t>Expertise in Test Case Preparation, Verifying Test Cases, Bug Tracking and Reporting.</a:t>
            </a:r>
          </a:p>
          <a:p>
            <a:pPr marL="95250">
              <a:spcBef>
                <a:spcPts val="500"/>
              </a:spcBef>
              <a:defRPr/>
            </a:pPr>
            <a:r>
              <a:rPr lang="en-AU" sz="1000" b="1" u="sng" kern="0" dirty="0" smtClean="0">
                <a:latin typeface="Arial" pitchFamily="34" charset="0"/>
                <a:cs typeface="Arial" pitchFamily="34" charset="0"/>
              </a:rPr>
              <a:t>Technical </a:t>
            </a:r>
            <a:r>
              <a:rPr lang="en-AU" sz="1000" b="1" u="sng" kern="0" dirty="0">
                <a:latin typeface="Arial" pitchFamily="34" charset="0"/>
                <a:cs typeface="Arial" pitchFamily="34" charset="0"/>
              </a:rPr>
              <a:t>Skills</a:t>
            </a:r>
          </a:p>
          <a:p>
            <a:pPr marL="266700" lvl="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AU" sz="1000" b="1" dirty="0"/>
              <a:t>Automation Tools : </a:t>
            </a:r>
            <a:r>
              <a:rPr lang="en-AU" sz="1000" dirty="0" smtClean="0"/>
              <a:t>CA </a:t>
            </a:r>
            <a:r>
              <a:rPr lang="en-AU" sz="1000" dirty="0" smtClean="0"/>
              <a:t>LISA,UFT(ST</a:t>
            </a:r>
            <a:r>
              <a:rPr lang="en-AU" sz="1000" dirty="0" smtClean="0"/>
              <a:t>),</a:t>
            </a:r>
          </a:p>
          <a:p>
            <a:pPr marL="26670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AU" sz="1000" b="1" smtClean="0"/>
              <a:t>Package </a:t>
            </a:r>
            <a:r>
              <a:rPr lang="en-AU" sz="1000" b="1" dirty="0" smtClean="0"/>
              <a:t>Software skills :</a:t>
            </a:r>
            <a:r>
              <a:rPr lang="en-AU" sz="1000" dirty="0" smtClean="0"/>
              <a:t> Java Script</a:t>
            </a:r>
            <a:r>
              <a:rPr lang="en-AU" sz="1000" dirty="0" smtClean="0"/>
              <a:t> with MOCHA,CHAI</a:t>
            </a:r>
            <a:endParaRPr lang="en-AU" sz="1000" dirty="0" smtClean="0"/>
          </a:p>
          <a:p>
            <a:pPr marL="266700" lvl="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AU" sz="1000" b="1" dirty="0" smtClean="0"/>
              <a:t>Database </a:t>
            </a:r>
            <a:r>
              <a:rPr lang="en-AU" sz="1000" dirty="0"/>
              <a:t>: MySQL, Oracle SQL </a:t>
            </a:r>
            <a:r>
              <a:rPr lang="en-AU" sz="1000" dirty="0" smtClean="0"/>
              <a:t>developer</a:t>
            </a:r>
            <a:endParaRPr lang="en-AU" sz="1000" dirty="0"/>
          </a:p>
          <a:p>
            <a:pPr marL="266700" lvl="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AU" sz="1000" b="1" dirty="0" smtClean="0"/>
              <a:t>Operating </a:t>
            </a:r>
            <a:r>
              <a:rPr lang="en-AU" sz="1000" b="1" dirty="0"/>
              <a:t>System </a:t>
            </a:r>
            <a:r>
              <a:rPr lang="en-AU" sz="1000" dirty="0"/>
              <a:t>: Windows family </a:t>
            </a:r>
          </a:p>
          <a:p>
            <a:pPr marL="266700" lvl="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AU" sz="1000" b="1" dirty="0"/>
              <a:t>Defect Tracking Tool </a:t>
            </a:r>
            <a:r>
              <a:rPr lang="en-AU" sz="1000" dirty="0"/>
              <a:t>: HP Quality centre, ALM ,JIRA</a:t>
            </a:r>
          </a:p>
          <a:p>
            <a:pPr marL="266700" lvl="0" indent="-171450"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AU" sz="1000" b="1" dirty="0" smtClean="0"/>
              <a:t>Test </a:t>
            </a:r>
            <a:r>
              <a:rPr lang="en-AU" sz="1000" b="1" dirty="0"/>
              <a:t>Management Tools : </a:t>
            </a:r>
            <a:r>
              <a:rPr lang="en-AU" sz="1000" dirty="0"/>
              <a:t>HP Quality Centre, </a:t>
            </a:r>
            <a:r>
              <a:rPr lang="en-AU" sz="1000" dirty="0" smtClean="0"/>
              <a:t>ALM, </a:t>
            </a:r>
            <a:r>
              <a:rPr lang="en-AU" sz="1000" dirty="0"/>
              <a:t>Jira </a:t>
            </a:r>
            <a:endParaRPr lang="en-US" sz="1000" dirty="0"/>
          </a:p>
          <a:p>
            <a:pPr marL="95250">
              <a:spcBef>
                <a:spcPts val="500"/>
              </a:spcBef>
              <a:defRPr/>
            </a:pPr>
            <a:r>
              <a:rPr lang="en-AU" sz="1000" b="1" u="sng" kern="0" dirty="0">
                <a:latin typeface="Arial" pitchFamily="34" charset="0"/>
                <a:cs typeface="Arial" pitchFamily="34" charset="0"/>
              </a:rPr>
              <a:t>Education/Certifications</a:t>
            </a:r>
            <a:endParaRPr lang="en-AU" sz="1000" b="1" u="sng" kern="0" dirty="0">
              <a:latin typeface="Arial" pitchFamily="34" charset="0"/>
              <a:cs typeface="Arial" pitchFamily="34" charset="0"/>
            </a:endParaRPr>
          </a:p>
          <a:p>
            <a:pPr marL="171450" lvl="0" indent="-171450">
              <a:spcBef>
                <a:spcPts val="500"/>
              </a:spcBef>
              <a:buFont typeface="Arial" panose="020B0604020202020204" pitchFamily="34" charset="0"/>
              <a:buChar char="•"/>
              <a:defRPr/>
            </a:pPr>
            <a:r>
              <a:rPr lang="en-US" sz="1000" dirty="0"/>
              <a:t>MSc electronics, Hindustan College of Arts &amp; Science, Coimbatore - India</a:t>
            </a:r>
            <a:endParaRPr lang="en-AU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BSc electronics, PSG College of Arts &amp; Science, Coimbatore- </a:t>
            </a:r>
            <a:r>
              <a:rPr lang="en-US" sz="1000" dirty="0" smtClean="0"/>
              <a:t>India</a:t>
            </a:r>
          </a:p>
          <a:p>
            <a:pPr marL="95250">
              <a:spcBef>
                <a:spcPts val="500"/>
              </a:spcBef>
              <a:defRPr/>
            </a:pPr>
            <a:r>
              <a:rPr lang="en-AU" sz="1000" b="1" u="sng" kern="0" dirty="0" smtClean="0">
                <a:latin typeface="Arial" pitchFamily="34" charset="0"/>
                <a:cs typeface="Arial" pitchFamily="34" charset="0"/>
              </a:rPr>
              <a:t>Contact Details</a:t>
            </a:r>
            <a:endParaRPr lang="en-AU" sz="1000" b="1" u="sng" kern="0" dirty="0">
              <a:latin typeface="Arial" pitchFamily="34" charset="0"/>
              <a:cs typeface="Arial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AU" sz="1000" dirty="0" smtClean="0"/>
              <a:t>Email : </a:t>
            </a:r>
            <a:r>
              <a:rPr lang="en-AU" sz="1000" dirty="0" smtClean="0">
                <a:hlinkClick r:id="rId6"/>
              </a:rPr>
              <a:t>mahesh.cas@gmail.com</a:t>
            </a:r>
            <a:endParaRPr lang="en-AU" sz="1000" dirty="0" smtClean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AU" sz="1000" dirty="0" smtClean="0"/>
              <a:t>Mobile : +91-9894413555</a:t>
            </a:r>
            <a:endParaRPr lang="en-AU" sz="1000" dirty="0"/>
          </a:p>
          <a:p>
            <a:pPr marL="95250" lvl="0">
              <a:spcBef>
                <a:spcPts val="500"/>
              </a:spcBef>
              <a:defRPr/>
            </a:pPr>
            <a:endParaRPr lang="en-US" sz="1000" dirty="0"/>
          </a:p>
        </p:txBody>
      </p:sp>
      <p:cxnSp>
        <p:nvCxnSpPr>
          <p:cNvPr id="6" name="Straight Connector 8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 flipV="1">
            <a:off x="367854" y="434997"/>
            <a:ext cx="8596634" cy="8921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33423884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xzKvC_i0ahFZKD0XoT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h2D9HPkmPtusZOCf2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VnwEgZE02RIj5vRIKS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5prP1NkEuzFb0zlkWPhA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285</TotalTime>
  <Words>531</Words>
  <Application>Microsoft Office PowerPoint</Application>
  <PresentationFormat>On-screen Show (4:3)</PresentationFormat>
  <Paragraphs>49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Blank</vt:lpstr>
      <vt:lpstr>PowerPoint Presentation</vt:lpstr>
    </vt:vector>
  </TitlesOfParts>
  <Company>Australia and New Zealand Banking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epati, Nagendra</dc:creator>
  <cp:lastModifiedBy>Mallikarjunan, Maheswar</cp:lastModifiedBy>
  <cp:revision>16</cp:revision>
  <dcterms:created xsi:type="dcterms:W3CDTF">2018-11-14T06:39:11Z</dcterms:created>
  <dcterms:modified xsi:type="dcterms:W3CDTF">2019-06-24T05:37:14Z</dcterms:modified>
</cp:coreProperties>
</file>